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95" r:id="rId2"/>
    <p:sldId id="378" r:id="rId3"/>
    <p:sldId id="379" r:id="rId4"/>
    <p:sldId id="312" r:id="rId5"/>
    <p:sldId id="313" r:id="rId6"/>
    <p:sldId id="314" r:id="rId7"/>
    <p:sldId id="315" r:id="rId8"/>
    <p:sldId id="317" r:id="rId9"/>
    <p:sldId id="318" r:id="rId10"/>
    <p:sldId id="319" r:id="rId11"/>
    <p:sldId id="320" r:id="rId12"/>
    <p:sldId id="321" r:id="rId13"/>
    <p:sldId id="322" r:id="rId14"/>
    <p:sldId id="323" r:id="rId15"/>
    <p:sldId id="324" r:id="rId16"/>
    <p:sldId id="325" r:id="rId17"/>
    <p:sldId id="326" r:id="rId18"/>
    <p:sldId id="327" r:id="rId19"/>
    <p:sldId id="332" r:id="rId20"/>
    <p:sldId id="335" r:id="rId21"/>
    <p:sldId id="337" r:id="rId22"/>
    <p:sldId id="377" r:id="rId23"/>
    <p:sldId id="368" r:id="rId24"/>
  </p:sldIdLst>
  <p:sldSz cx="9904413" cy="6859588"/>
  <p:notesSz cx="6797675" cy="9874250"/>
  <p:custDataLst>
    <p:tags r:id="rId27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7" autoAdjust="0"/>
    <p:restoredTop sz="98993" autoAdjust="0"/>
  </p:normalViewPr>
  <p:slideViewPr>
    <p:cSldViewPr snapToObjects="1" showGuides="1">
      <p:cViewPr>
        <p:scale>
          <a:sx n="144" d="100"/>
          <a:sy n="144" d="100"/>
        </p:scale>
        <p:origin x="408" y="-11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4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8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Four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50849" y="1376361"/>
            <a:ext cx="2196001" cy="4932364"/>
            <a:chOff x="450849" y="1376361"/>
            <a:chExt cx="2196001" cy="493236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719224" y="1376361"/>
            <a:ext cx="2196001" cy="4932364"/>
            <a:chOff x="450849" y="1376361"/>
            <a:chExt cx="2196001" cy="4932364"/>
          </a:xfrm>
        </p:grpSpPr>
        <p:sp>
          <p:nvSpPr>
            <p:cNvPr id="12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987599" y="1376361"/>
            <a:ext cx="2196001" cy="4932364"/>
            <a:chOff x="450849" y="1376361"/>
            <a:chExt cx="2196001" cy="4932364"/>
          </a:xfrm>
        </p:grpSpPr>
        <p:sp>
          <p:nvSpPr>
            <p:cNvPr id="15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7255974" y="1376361"/>
            <a:ext cx="2196001" cy="4932364"/>
            <a:chOff x="450849" y="1376361"/>
            <a:chExt cx="2196001" cy="4932364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49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50848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5875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095874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49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450848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5875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5095874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450848" y="1376361"/>
            <a:ext cx="2880001" cy="2341465"/>
            <a:chOff x="450848" y="1376361"/>
            <a:chExt cx="2880001" cy="2341465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05196" y="1376361"/>
            <a:ext cx="2880001" cy="2341465"/>
            <a:chOff x="450848" y="1376361"/>
            <a:chExt cx="2880001" cy="2341465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559544" y="1376361"/>
            <a:ext cx="2880001" cy="2341465"/>
            <a:chOff x="450848" y="1376361"/>
            <a:chExt cx="2880001" cy="2341465"/>
          </a:xfrm>
        </p:grpSpPr>
        <p:sp>
          <p:nvSpPr>
            <p:cNvPr id="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4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50848" y="3968848"/>
            <a:ext cx="2880001" cy="2341465"/>
            <a:chOff x="450848" y="1376361"/>
            <a:chExt cx="2880001" cy="2341465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505196" y="3968848"/>
            <a:ext cx="2880001" cy="2341465"/>
            <a:chOff x="450848" y="1376361"/>
            <a:chExt cx="2880001" cy="2341465"/>
          </a:xfrm>
        </p:grpSpPr>
        <p:sp>
          <p:nvSpPr>
            <p:cNvPr id="19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559544" y="3968848"/>
            <a:ext cx="2880001" cy="2341465"/>
            <a:chOff x="450848" y="1376361"/>
            <a:chExt cx="2880001" cy="2341465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19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>
            <a:extLst>
              <a:ext uri="{FF2B5EF4-FFF2-40B4-BE49-F238E27FC236}">
                <a16:creationId xmlns:a16="http://schemas.microsoft.com/office/drawing/2014/main" id="{A8731D42-40EA-5F4F-9996-438BF867601E}"/>
              </a:ext>
            </a:extLst>
          </p:cNvPr>
          <p:cNvSpPr txBox="1"/>
          <p:nvPr/>
        </p:nvSpPr>
        <p:spPr>
          <a:xfrm>
            <a:off x="2193816" y="2055133"/>
            <a:ext cx="1241939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mples have too many NaN</a:t>
            </a:r>
            <a:r>
              <a:rPr lang="zh-CN" altLang="en-US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</a:t>
            </a:r>
            <a:endParaRPr lang="en-CN" sz="1000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1EC90E3-414F-D441-9786-7A984D0B58E5}"/>
              </a:ext>
            </a:extLst>
          </p:cNvPr>
          <p:cNvSpPr txBox="1"/>
          <p:nvPr/>
        </p:nvSpPr>
        <p:spPr>
          <a:xfrm>
            <a:off x="415701" y="2055133"/>
            <a:ext cx="1241931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mples have </a:t>
            </a:r>
          </a:p>
          <a:p>
            <a:pPr algn="ctr"/>
            <a:r>
              <a: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N Label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4695842" y="1449574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0B64105-E260-CB43-885E-92FA1E61141A}"/>
              </a:ext>
            </a:extLst>
          </p:cNvPr>
          <p:cNvCxnSpPr>
            <a:cxnSpLocks/>
          </p:cNvCxnSpPr>
          <p:nvPr/>
        </p:nvCxnSpPr>
        <p:spPr>
          <a:xfrm>
            <a:off x="1675789" y="1989634"/>
            <a:ext cx="0" cy="535669"/>
          </a:xfrm>
          <a:prstGeom prst="straightConnector1">
            <a:avLst/>
          </a:prstGeom>
          <a:ln w="19050" cap="flat">
            <a:solidFill>
              <a:srgbClr val="C00000"/>
            </a:solidFill>
            <a:prstDash val="dash"/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4C0FC22C-8F8F-C94D-9BAB-E934C58EA544}"/>
              </a:ext>
            </a:extLst>
          </p:cNvPr>
          <p:cNvCxnSpPr>
            <a:cxnSpLocks/>
          </p:cNvCxnSpPr>
          <p:nvPr/>
        </p:nvCxnSpPr>
        <p:spPr>
          <a:xfrm>
            <a:off x="2215902" y="1989634"/>
            <a:ext cx="0" cy="535669"/>
          </a:xfrm>
          <a:prstGeom prst="straightConnector1">
            <a:avLst/>
          </a:prstGeom>
          <a:ln w="19050" cap="flat">
            <a:solidFill>
              <a:srgbClr val="C00000"/>
            </a:solidFill>
            <a:prstDash val="dash"/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FADF36C3-1E66-4E42-AD72-A34CB0C31B97}"/>
              </a:ext>
            </a:extLst>
          </p:cNvPr>
          <p:cNvSpPr/>
          <p:nvPr/>
        </p:nvSpPr>
        <p:spPr>
          <a:xfrm>
            <a:off x="415702" y="1449574"/>
            <a:ext cx="3020053" cy="54006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aw Samples </a:t>
            </a:r>
          </a:p>
          <a:p>
            <a:pPr algn="ctr"/>
            <a:r>
              <a:rPr lang="en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500 stocks, 606475 samples)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A7E3FA97-1A23-E948-90EF-6583899255BE}"/>
              </a:ext>
            </a:extLst>
          </p:cNvPr>
          <p:cNvSpPr/>
          <p:nvPr/>
        </p:nvSpPr>
        <p:spPr>
          <a:xfrm>
            <a:off x="415702" y="2525303"/>
            <a:ext cx="3020053" cy="54006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lected Samples </a:t>
            </a:r>
            <a:r>
              <a:rPr lang="en-US" altLang="zh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ll </a:t>
            </a:r>
            <a:r>
              <a:rPr lang="en-US" altLang="zh-CN" sz="1400" i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N</a:t>
            </a:r>
            <a:r>
              <a:rPr lang="en-US" altLang="zh-CN" sz="14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y 0</a:t>
            </a:r>
            <a:r>
              <a:rPr lang="en-US" altLang="zh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CN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3</a:t>
            </a:r>
            <a:r>
              <a:rPr lang="en-US" altLang="zh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CN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 stocks, 449765 samples)</a:t>
            </a:r>
          </a:p>
        </p:txBody>
      </p: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4AD6287D-6B59-AF42-8038-912AD987C9FD}"/>
              </a:ext>
            </a:extLst>
          </p:cNvPr>
          <p:cNvSpPr/>
          <p:nvPr/>
        </p:nvSpPr>
        <p:spPr>
          <a:xfrm>
            <a:off x="415702" y="3600862"/>
            <a:ext cx="3020053" cy="54006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ed Samples</a:t>
            </a:r>
            <a:endParaRPr lang="en-CN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13450771-F721-E54A-A843-D1E3454AFBE3}"/>
              </a:ext>
            </a:extLst>
          </p:cNvPr>
          <p:cNvCxnSpPr>
            <a:cxnSpLocks/>
            <a:stCxn id="68" idx="2"/>
            <a:endCxn id="73" idx="0"/>
          </p:cNvCxnSpPr>
          <p:nvPr/>
        </p:nvCxnSpPr>
        <p:spPr>
          <a:xfrm>
            <a:off x="1925729" y="3065363"/>
            <a:ext cx="0" cy="535499"/>
          </a:xfrm>
          <a:prstGeom prst="straightConnector1">
            <a:avLst/>
          </a:prstGeom>
          <a:ln w="19050" cap="flat">
            <a:solidFill>
              <a:schemeClr val="tx1"/>
            </a:solidFill>
            <a:prstDash val="dash"/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CD34986E-0F31-A647-9F27-822D37D6CF13}"/>
              </a:ext>
            </a:extLst>
          </p:cNvPr>
          <p:cNvSpPr txBox="1"/>
          <p:nvPr/>
        </p:nvSpPr>
        <p:spPr>
          <a:xfrm>
            <a:off x="1997647" y="3150373"/>
            <a:ext cx="1440815" cy="40011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oss Sectional</a:t>
            </a:r>
          </a:p>
          <a:p>
            <a:pPr algn="ctr"/>
            <a:r>
              <a:rPr lang="en-US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Z-Score Normalization</a:t>
            </a: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B1782C60-11FF-944F-A797-E51C70CD05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94" y="4216036"/>
            <a:ext cx="2624869" cy="201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alternative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644224"/>
              </p:ext>
            </p:extLst>
          </p:nvPr>
        </p:nvGraphicFramePr>
        <p:xfrm>
          <a:off x="396875" y="1377950"/>
          <a:ext cx="9055098" cy="4152900"/>
        </p:xfrm>
        <a:graphic>
          <a:graphicData uri="http://schemas.openxmlformats.org/drawingml/2006/table">
            <a:tbl>
              <a:tblPr/>
              <a:tblGrid>
                <a:gridCol w="1218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text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278109"/>
              </p:ext>
            </p:extLst>
          </p:nvPr>
        </p:nvGraphicFramePr>
        <p:xfrm>
          <a:off x="396876" y="1377949"/>
          <a:ext cx="9055099" cy="493236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79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8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37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2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full column of bullets and dashes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7220300"/>
              </p:ext>
            </p:extLst>
          </p:nvPr>
        </p:nvGraphicFramePr>
        <p:xfrm>
          <a:off x="396875" y="1377950"/>
          <a:ext cx="9055100" cy="4470400"/>
        </p:xfrm>
        <a:graphic>
          <a:graphicData uri="http://schemas.openxmlformats.org/drawingml/2006/table">
            <a:tbl>
              <a:tblPr/>
              <a:tblGrid>
                <a:gridCol w="226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3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chevron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673773"/>
              </p:ext>
            </p:extLst>
          </p:nvPr>
        </p:nvGraphicFramePr>
        <p:xfrm>
          <a:off x="396873" y="2023231"/>
          <a:ext cx="9055104" cy="4287081"/>
        </p:xfrm>
        <a:graphic>
          <a:graphicData uri="http://schemas.openxmlformats.org/drawingml/2006/table">
            <a:tbl>
              <a:tblPr/>
              <a:tblGrid>
                <a:gridCol w="2263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382587" y="1377950"/>
            <a:ext cx="9069388" cy="584200"/>
            <a:chOff x="382587" y="1377950"/>
            <a:chExt cx="8353600" cy="584200"/>
          </a:xfrm>
        </p:grpSpPr>
        <p:sp>
          <p:nvSpPr>
            <p:cNvPr id="4" name="AutoShape 32"/>
            <p:cNvSpPr>
              <a:spLocks noChangeArrowheads="1"/>
            </p:cNvSpPr>
            <p:nvPr/>
          </p:nvSpPr>
          <p:spPr bwMode="gray">
            <a:xfrm>
              <a:off x="382587" y="1377950"/>
              <a:ext cx="2206800" cy="584200"/>
            </a:xfrm>
            <a:prstGeom prst="chevron">
              <a:avLst>
                <a:gd name="adj" fmla="val 34952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, Palatino Linotype, 14-pt bold</a:t>
              </a:r>
            </a:p>
          </p:txBody>
        </p:sp>
        <p:sp>
          <p:nvSpPr>
            <p:cNvPr id="5" name="AutoShape 33"/>
            <p:cNvSpPr>
              <a:spLocks noChangeArrowheads="1"/>
            </p:cNvSpPr>
            <p:nvPr/>
          </p:nvSpPr>
          <p:spPr bwMode="gray">
            <a:xfrm>
              <a:off x="2431520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6" name="AutoShape 34"/>
            <p:cNvSpPr>
              <a:spLocks noChangeArrowheads="1"/>
            </p:cNvSpPr>
            <p:nvPr/>
          </p:nvSpPr>
          <p:spPr bwMode="gray">
            <a:xfrm>
              <a:off x="4480453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7" name="AutoShape 35"/>
            <p:cNvSpPr>
              <a:spLocks noChangeArrowheads="1"/>
            </p:cNvSpPr>
            <p:nvPr/>
          </p:nvSpPr>
          <p:spPr bwMode="gray">
            <a:xfrm>
              <a:off x="6529387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</p:grpSp>
      <p:sp>
        <p:nvSpPr>
          <p:cNvPr id="8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text boxes with paragraph, bullet, and dash points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8561" y="1376361"/>
            <a:ext cx="4358389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48560" y="1626041"/>
            <a:ext cx="4358389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5877" y="1376361"/>
            <a:ext cx="43561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095876" y="1626041"/>
            <a:ext cx="43561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50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50849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1778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511777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72706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6572705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zEFF13M0WKgd4O5C57_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96</Words>
  <Application>Microsoft Macintosh PowerPoint</Application>
  <PresentationFormat>Custom</PresentationFormat>
  <Paragraphs>634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等线</vt:lpstr>
      <vt:lpstr>华文楷体</vt:lpstr>
      <vt:lpstr>Arial</vt:lpstr>
      <vt:lpstr>Calibri</vt:lpstr>
      <vt:lpstr>Palatino Linotype</vt:lpstr>
      <vt:lpstr>Times New Roman</vt:lpstr>
      <vt:lpstr>Vrinda</vt:lpstr>
      <vt:lpstr>Wingdings 2</vt:lpstr>
      <vt:lpstr>CR Onlytext</vt:lpstr>
      <vt:lpstr>think-cell Slide</vt:lpstr>
      <vt:lpstr>Data Analysis Project 1.</vt:lpstr>
      <vt:lpstr>Data Analysis Framework</vt:lpstr>
      <vt:lpstr>3.1 Select &amp; Normalize</vt:lpstr>
      <vt:lpstr>Tables – alternative data table</vt:lpstr>
      <vt:lpstr>Tables – table with text</vt:lpstr>
      <vt:lpstr>Tables – table with full column of bullets and dashes</vt:lpstr>
      <vt:lpstr>Tables – chevron table</vt:lpstr>
      <vt:lpstr>Text boxes – two text boxes with paragraph, bullet, and dash points</vt:lpstr>
      <vt:lpstr>Text boxes – three to a slide, with paragraph, bullet, and dash points</vt:lpstr>
      <vt:lpstr>Text boxes – Four to a slide, with paragraph, bullet, and dash points</vt:lpstr>
      <vt:lpstr>Text boxes – two-by-two</vt:lpstr>
      <vt:lpstr>Text boxes – three-by-two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04:53:49Z</dcterms:modified>
  <cp:version>112013</cp:version>
</cp:coreProperties>
</file>